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6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6D1A4-897D-203A-1ACE-463A3E8CA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>
            <a:extLst>
              <a:ext uri="{FF2B5EF4-FFF2-40B4-BE49-F238E27FC236}">
                <a16:creationId xmlns:a16="http://schemas.microsoft.com/office/drawing/2014/main" id="{891B78D2-CE9D-13DC-82BC-1C6760B98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-Step Vertical Chevr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F028DD-8E5C-B6E9-9818-29E73D5931F2}"/>
              </a:ext>
            </a:extLst>
          </p:cNvPr>
          <p:cNvSpPr/>
          <p:nvPr/>
        </p:nvSpPr>
        <p:spPr>
          <a:xfrm>
            <a:off x="3755571" y="1889125"/>
            <a:ext cx="13817817" cy="1278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DC899B0-C23E-3E40-6146-269B61FA2134}"/>
              </a:ext>
            </a:extLst>
          </p:cNvPr>
          <p:cNvGrpSpPr/>
          <p:nvPr/>
        </p:nvGrpSpPr>
        <p:grpSpPr>
          <a:xfrm>
            <a:off x="714613" y="1889125"/>
            <a:ext cx="2866787" cy="1689537"/>
            <a:chOff x="714613" y="1889125"/>
            <a:chExt cx="2866787" cy="1689537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96BD98A3-6E5B-E9D5-744B-EC0B58661C46}"/>
                </a:ext>
              </a:extLst>
            </p:cNvPr>
            <p:cNvSpPr/>
            <p:nvPr/>
          </p:nvSpPr>
          <p:spPr>
            <a:xfrm rot="5400000">
              <a:off x="1303238" y="1300500"/>
              <a:ext cx="1689537" cy="2866787"/>
            </a:xfrm>
            <a:prstGeom prst="homePlate">
              <a:avLst>
                <a:gd name="adj" fmla="val 2473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09C1F7E-E940-2280-9A75-B8DEE0E685FF}"/>
                </a:ext>
              </a:extLst>
            </p:cNvPr>
            <p:cNvSpPr txBox="1"/>
            <p:nvPr/>
          </p:nvSpPr>
          <p:spPr>
            <a:xfrm>
              <a:off x="1233606" y="2549228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058DFD3-5534-D194-66DA-91B39FFAFB4B}"/>
              </a:ext>
            </a:extLst>
          </p:cNvPr>
          <p:cNvGrpSpPr/>
          <p:nvPr/>
        </p:nvGrpSpPr>
        <p:grpSpPr>
          <a:xfrm>
            <a:off x="714374" y="3285191"/>
            <a:ext cx="2867025" cy="1689537"/>
            <a:chOff x="714374" y="3285191"/>
            <a:chExt cx="2867025" cy="1689537"/>
          </a:xfrm>
        </p:grpSpPr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A9DB0AF2-779C-3299-CB61-1C761CD65096}"/>
                </a:ext>
              </a:extLst>
            </p:cNvPr>
            <p:cNvSpPr/>
            <p:nvPr/>
          </p:nvSpPr>
          <p:spPr>
            <a:xfrm rot="5400000">
              <a:off x="1303118" y="2696447"/>
              <a:ext cx="1689537" cy="2867025"/>
            </a:xfrm>
            <a:prstGeom prst="chevron">
              <a:avLst>
                <a:gd name="adj" fmla="val 247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51EE66E-C2EA-CCFA-9192-9EC6218A3615}"/>
                </a:ext>
              </a:extLst>
            </p:cNvPr>
            <p:cNvSpPr txBox="1"/>
            <p:nvPr/>
          </p:nvSpPr>
          <p:spPr>
            <a:xfrm>
              <a:off x="1233486" y="3945293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71D97C8-3171-22EC-E45F-E65A4FDA21AF}"/>
              </a:ext>
            </a:extLst>
          </p:cNvPr>
          <p:cNvGrpSpPr/>
          <p:nvPr/>
        </p:nvGrpSpPr>
        <p:grpSpPr>
          <a:xfrm>
            <a:off x="714374" y="4681257"/>
            <a:ext cx="2867025" cy="1689537"/>
            <a:chOff x="714374" y="4681257"/>
            <a:chExt cx="2867025" cy="1689537"/>
          </a:xfrm>
        </p:grpSpPr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4A5A1D23-A710-CDFE-2FEE-199AAF073AF3}"/>
                </a:ext>
              </a:extLst>
            </p:cNvPr>
            <p:cNvSpPr/>
            <p:nvPr/>
          </p:nvSpPr>
          <p:spPr>
            <a:xfrm rot="5400000">
              <a:off x="1303118" y="4092513"/>
              <a:ext cx="1689537" cy="2867025"/>
            </a:xfrm>
            <a:prstGeom prst="chevron">
              <a:avLst>
                <a:gd name="adj" fmla="val 2473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64E1DAA-FBFB-5BF1-5E10-17CA34589631}"/>
                </a:ext>
              </a:extLst>
            </p:cNvPr>
            <p:cNvSpPr txBox="1"/>
            <p:nvPr/>
          </p:nvSpPr>
          <p:spPr>
            <a:xfrm>
              <a:off x="1233486" y="5414899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559B726-26FC-AABC-6E73-AA5E80524840}"/>
              </a:ext>
            </a:extLst>
          </p:cNvPr>
          <p:cNvGrpSpPr/>
          <p:nvPr/>
        </p:nvGrpSpPr>
        <p:grpSpPr>
          <a:xfrm>
            <a:off x="714374" y="6077322"/>
            <a:ext cx="2867025" cy="1689537"/>
            <a:chOff x="714374" y="6077322"/>
            <a:chExt cx="2867025" cy="1689537"/>
          </a:xfrm>
        </p:grpSpPr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66AF3B9A-3C15-8805-11BB-9EC7D91E80D2}"/>
                </a:ext>
              </a:extLst>
            </p:cNvPr>
            <p:cNvSpPr/>
            <p:nvPr/>
          </p:nvSpPr>
          <p:spPr>
            <a:xfrm rot="5400000">
              <a:off x="1303118" y="5488578"/>
              <a:ext cx="1689537" cy="2867025"/>
            </a:xfrm>
            <a:prstGeom prst="chevron">
              <a:avLst>
                <a:gd name="adj" fmla="val 247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82E677-349F-46FD-5110-7138BF5CB783}"/>
                </a:ext>
              </a:extLst>
            </p:cNvPr>
            <p:cNvSpPr txBox="1"/>
            <p:nvPr/>
          </p:nvSpPr>
          <p:spPr>
            <a:xfrm>
              <a:off x="1233486" y="6737424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C74F0BC-5589-3385-2143-5FB8F589C554}"/>
              </a:ext>
            </a:extLst>
          </p:cNvPr>
          <p:cNvGrpSpPr/>
          <p:nvPr/>
        </p:nvGrpSpPr>
        <p:grpSpPr>
          <a:xfrm>
            <a:off x="714374" y="7525164"/>
            <a:ext cx="2867025" cy="1689537"/>
            <a:chOff x="714374" y="7525164"/>
            <a:chExt cx="2867025" cy="1689537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CAA44F4F-9736-9FDE-90D1-A9D8F5C70309}"/>
                </a:ext>
              </a:extLst>
            </p:cNvPr>
            <p:cNvSpPr/>
            <p:nvPr/>
          </p:nvSpPr>
          <p:spPr>
            <a:xfrm rot="5400000">
              <a:off x="1303118" y="6936420"/>
              <a:ext cx="1689537" cy="2867025"/>
            </a:xfrm>
            <a:prstGeom prst="chevron">
              <a:avLst>
                <a:gd name="adj" fmla="val 2473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340259F-2270-AE0A-BEE5-17B6018E31CF}"/>
                </a:ext>
              </a:extLst>
            </p:cNvPr>
            <p:cNvSpPr txBox="1"/>
            <p:nvPr/>
          </p:nvSpPr>
          <p:spPr>
            <a:xfrm>
              <a:off x="1233486" y="818526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559A8AA0-7397-F19E-B727-653D8877D779}"/>
              </a:ext>
            </a:extLst>
          </p:cNvPr>
          <p:cNvSpPr/>
          <p:nvPr/>
        </p:nvSpPr>
        <p:spPr>
          <a:xfrm>
            <a:off x="3755571" y="3298135"/>
            <a:ext cx="13817817" cy="1278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1B011-58C5-9DCD-4C29-1FB0280B1F6D}"/>
              </a:ext>
            </a:extLst>
          </p:cNvPr>
          <p:cNvSpPr/>
          <p:nvPr/>
        </p:nvSpPr>
        <p:spPr>
          <a:xfrm>
            <a:off x="3755571" y="4707145"/>
            <a:ext cx="13817817" cy="1278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3C52474-DDA3-6620-022E-365DF2E91619}"/>
              </a:ext>
            </a:extLst>
          </p:cNvPr>
          <p:cNvSpPr/>
          <p:nvPr/>
        </p:nvSpPr>
        <p:spPr>
          <a:xfrm>
            <a:off x="3755571" y="6116155"/>
            <a:ext cx="13817817" cy="1278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C21A6A-F221-94CA-C772-781EB3E9E335}"/>
              </a:ext>
            </a:extLst>
          </p:cNvPr>
          <p:cNvSpPr/>
          <p:nvPr/>
        </p:nvSpPr>
        <p:spPr>
          <a:xfrm>
            <a:off x="3755571" y="7525164"/>
            <a:ext cx="13817817" cy="1278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23F129-E09A-989F-E626-C8C25F8DF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080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9</TotalTime>
  <Words>249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5-Step Vertical Chevr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29</cp:revision>
  <dcterms:created xsi:type="dcterms:W3CDTF">2006-08-16T00:00:00Z</dcterms:created>
  <dcterms:modified xsi:type="dcterms:W3CDTF">2025-10-06T09:22:39Z</dcterms:modified>
  <cp:category/>
  <dc:identifier>DAGkDf5R9EM</dc:identifier>
</cp:coreProperties>
</file>